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tags/tag25.xml" ContentType="application/vnd.openxmlformats-officedocument.presentationml.tags+xml"/>
  <Override PartName="/ppt/notesSlides/notesSlide23.xml" ContentType="application/vnd.openxmlformats-officedocument.presentationml.notesSlide+xml"/>
  <Override PartName="/ppt/tags/tag26.xml" ContentType="application/vnd.openxmlformats-officedocument.presentationml.tags+xml"/>
  <Override PartName="/ppt/notesSlides/notesSlide24.xml" ContentType="application/vnd.openxmlformats-officedocument.presentationml.notesSlide+xml"/>
  <Override PartName="/ppt/tags/tag27.xml" ContentType="application/vnd.openxmlformats-officedocument.presentationml.tags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826" r:id="rId1"/>
  </p:sldMasterIdLst>
  <p:notesMasterIdLst>
    <p:notesMasterId r:id="rId27"/>
  </p:notesMasterIdLst>
  <p:sldIdLst>
    <p:sldId id="256" r:id="rId2"/>
    <p:sldId id="257" r:id="rId3"/>
    <p:sldId id="284" r:id="rId4"/>
    <p:sldId id="283" r:id="rId5"/>
    <p:sldId id="258" r:id="rId6"/>
    <p:sldId id="260" r:id="rId7"/>
    <p:sldId id="261" r:id="rId8"/>
    <p:sldId id="262" r:id="rId9"/>
    <p:sldId id="263" r:id="rId10"/>
    <p:sldId id="264" r:id="rId11"/>
    <p:sldId id="266" r:id="rId12"/>
    <p:sldId id="267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282" r:id="rId26"/>
  </p:sldIdLst>
  <p:sldSz cx="9144000" cy="5143500" type="screen16x9"/>
  <p:notesSz cx="6858000" cy="9144000"/>
  <p:embeddedFontLst>
    <p:embeddedFont>
      <p:font typeface="Gill Sans MT" panose="020B0502020104020203" pitchFamily="34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AE655D5-70EE-4E4A-9150-0A31C0A29BD6}">
  <a:tblStyle styleId="{3AE655D5-70EE-4E4A-9150-0A31C0A29BD6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922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3.fntdata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" name="Google Shape;84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g1f803b41dab_1_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1" name="Google Shape;141;g1f803b41dab_1_5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g1f803b41dab_1_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5" name="Google Shape;155;g1f803b41dab_1_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g1f803b41dab_1_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2" name="Google Shape;162;g1f803b41dab_1_7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g1f803b41dab_1_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6" name="Google Shape;176;g1f803b41dab_1_8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g1f803b41dab_1_1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4" name="Google Shape;184;g1f803b41dab_1_1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1f803b41dab_1_1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1f803b41dab_1_1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g1f803b41dab_1_1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8" name="Google Shape;198;g1f803b41dab_1_1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1f803b41dab_1_1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1f803b41dab_1_15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g1f803b41dab_1_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2" name="Google Shape;212;g1f803b41dab_1_9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g1f803b41dab_1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0" name="Google Shape;220;g1f803b41dab_1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1f7fa70e7fd_0_26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3" name="Google Shape;93;g1f7fa70e7fd_0_26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1f803b41dab_1_1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" name="Google Shape;227;g1f803b41dab_1_16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g1f803b41dab_1_1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4" name="Google Shape;234;g1f803b41dab_1_1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g1f803b41dab_1_1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1" name="Google Shape;241;g1f803b41dab_1_1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g1f803b41dab_1_1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8" name="Google Shape;248;g1f803b41dab_1_1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g1f803b41dab_1_1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5" name="Google Shape;255;g1f803b41dab_1_1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g1f7fa70e7fd_0_27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9" name="Google Shape;269;g1f7fa70e7fd_0_27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1f7fa70e7fd_0_26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3" name="Google Shape;93;g1f7fa70e7fd_0_26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302150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1f7fa70e7fd_0_26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3" name="Google Shape;93;g1f7fa70e7fd_0_26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256287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g1f7fa70e7fd_0_26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" name="Google Shape;99;g1f7fa70e7fd_0_26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g1f803b41dab_1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" name="Google Shape;113;g1f803b41dab_1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1f803b41dab_1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1f803b41dab_1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g1f803b41dab_1_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7" name="Google Shape;127;g1f803b41dab_1_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g1f803b41dab_1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4" name="Google Shape;134;g1f803b41dab_1_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200150" y="1790058"/>
            <a:ext cx="6743700" cy="123444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285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1396" y="3264408"/>
            <a:ext cx="5101209" cy="929921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0479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5222560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89834" y="702945"/>
            <a:ext cx="973956" cy="373761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3352" y="702945"/>
            <a:ext cx="4648867" cy="373761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29392179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4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1"/>
          </p:nvPr>
        </p:nvSpPr>
        <p:spPr>
          <a:xfrm>
            <a:off x="729450" y="2078875"/>
            <a:ext cx="76887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15521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88768086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200150" y="1790058"/>
            <a:ext cx="6743700" cy="123444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285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1396" y="3264349"/>
            <a:ext cx="5101209" cy="94881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14916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86434" y="1978533"/>
            <a:ext cx="3203828" cy="2326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3737" y="1978533"/>
            <a:ext cx="3202685" cy="2326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15233387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87577" y="1735075"/>
            <a:ext cx="3202686" cy="528065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425" b="0" cap="all" spc="75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87577" y="2357438"/>
            <a:ext cx="3202686" cy="19475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3737" y="2357438"/>
            <a:ext cx="3190113" cy="194758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53737" y="1735075"/>
            <a:ext cx="3202686" cy="528065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425" b="0" cap="all" spc="75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52650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08702011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774289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603504" y="1682871"/>
            <a:ext cx="3364992" cy="856123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165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2060" y="603504"/>
            <a:ext cx="3611880" cy="3936492"/>
          </a:xfrm>
        </p:spPr>
        <p:txBody>
          <a:bodyPr>
            <a:normAutofit/>
          </a:bodyPr>
          <a:lstStyle>
            <a:lvl1pPr>
              <a:defRPr sz="1425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6676" y="2662439"/>
            <a:ext cx="2846070" cy="164552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125">
                <a:solidFill>
                  <a:srgbClr val="FFFFFF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603504" y="4677156"/>
            <a:ext cx="3843598" cy="24003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IN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87165241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1" y="0"/>
            <a:ext cx="4571999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606392" y="1682871"/>
            <a:ext cx="3371249" cy="85098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165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72000" y="0"/>
            <a:ext cx="4576573" cy="51435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24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6676" y="2662439"/>
            <a:ext cx="2846070" cy="1645528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125">
                <a:solidFill>
                  <a:srgbClr val="FFFFFF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603504" y="4677156"/>
            <a:ext cx="3843598" cy="24003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IN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56200323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1673352" y="723519"/>
            <a:ext cx="5797296" cy="89154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3352" y="1978534"/>
            <a:ext cx="5797296" cy="23264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866072" y="4679112"/>
            <a:ext cx="2065310" cy="2429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6833444A-1400-48E2-AB26-33234A118A17}" type="datetimeFigureOut">
              <a:rPr lang="en-IN" smtClean="0"/>
              <a:t>26-04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00150" y="4677156"/>
            <a:ext cx="4425892" cy="2400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9192" y="4663440"/>
            <a:ext cx="274320" cy="27432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825" spc="0" baseline="0">
                <a:solidFill>
                  <a:srgbClr val="FFFFFF"/>
                </a:solidFill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2832A4A-2C9C-2EF8-13D3-2D0FAF7F93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30472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21057-648E-70E7-882A-729E67786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352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</p:sldLayoutIdLst>
  <p:hf sldNum="0" hdr="0" ft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100" kern="1200" cap="all" spc="15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984647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13235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43013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12081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5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6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dataverse.harvard.edu/dataset.xhtml?persistentId=doi:10.7910/DVN/HG7NV7" TargetMode="Externa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CAFCDF2-19BF-0F22-6724-7AA123B41A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6803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Google Shape;86;p13"/>
          <p:cNvSpPr txBox="1">
            <a:spLocks noGrp="1"/>
          </p:cNvSpPr>
          <p:nvPr>
            <p:ph type="ctrTitle"/>
          </p:nvPr>
        </p:nvSpPr>
        <p:spPr>
          <a:xfrm>
            <a:off x="729674" y="412618"/>
            <a:ext cx="7445681" cy="222209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400" dirty="0"/>
              <a:t>Scalable Databases </a:t>
            </a:r>
            <a:endParaRPr sz="4400" dirty="0"/>
          </a:p>
          <a:p>
            <a:pPr algn="l">
              <a:spcBef>
                <a:spcPts val="0"/>
              </a:spcBef>
            </a:pPr>
            <a:r>
              <a:rPr lang="en" sz="4400" dirty="0"/>
              <a:t>Final Project - Phase 1</a:t>
            </a:r>
            <a:br>
              <a:rPr lang="en" sz="4400" dirty="0"/>
            </a:br>
            <a:br>
              <a:rPr lang="en" sz="4400" dirty="0"/>
            </a:br>
            <a:r>
              <a:rPr lang="en-US" sz="1800" dirty="0">
                <a:solidFill>
                  <a:srgbClr val="000000"/>
                </a:solidFill>
              </a:rPr>
              <a:t>Amey Borkar(Year 2002) – Individual PPT</a:t>
            </a:r>
            <a:endParaRPr sz="4400" dirty="0"/>
          </a:p>
        </p:txBody>
      </p:sp>
      <p:pic>
        <p:nvPicPr>
          <p:cNvPr id="88" name="Google Shape;88;p1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74467" y="3283406"/>
            <a:ext cx="1828797" cy="1110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Google Shape;89;p1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740733" y="3377383"/>
            <a:ext cx="18288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0" name="Google Shape;90;p13"/>
          <p:cNvPicPr preferRelativeResize="0"/>
          <p:nvPr/>
        </p:nvPicPr>
        <p:blipFill rotWithShape="1">
          <a:blip r:embed="rId8">
            <a:alphaModFix/>
          </a:blip>
          <a:srcRect l="22558" t="25910" r="22354" b="20186"/>
          <a:stretch/>
        </p:blipFill>
        <p:spPr>
          <a:xfrm>
            <a:off x="3768908" y="3377383"/>
            <a:ext cx="1828800" cy="914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606EE02-9057-32EE-9C5A-A6CF7A4195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4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computer screen shot of white text&#10;&#10;Description automatically generated">
            <a:extLst>
              <a:ext uri="{FF2B5EF4-FFF2-40B4-BE49-F238E27FC236}">
                <a16:creationId xmlns:a16="http://schemas.microsoft.com/office/drawing/2014/main" id="{23016F02-EB33-B019-4646-11378432E0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5396" y="138430"/>
            <a:ext cx="7268705" cy="2488534"/>
          </a:xfrm>
          <a:prstGeom prst="rect">
            <a:avLst/>
          </a:prstGeom>
        </p:spPr>
      </p:pic>
      <p:pic>
        <p:nvPicPr>
          <p:cNvPr id="8" name="Picture 7" descr="A screen shot of a computer&#10;&#10;Description automatically generated">
            <a:extLst>
              <a:ext uri="{FF2B5EF4-FFF2-40B4-BE49-F238E27FC236}">
                <a16:creationId xmlns:a16="http://schemas.microsoft.com/office/drawing/2014/main" id="{FD4EBC74-1D9F-3EAC-0DEB-94A459C468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5396" y="2695709"/>
            <a:ext cx="7268705" cy="243332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DDC3FFA-9D47-E591-EFB6-391AB93463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781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Google Shape;157;p23"/>
          <p:cNvSpPr txBox="1">
            <a:spLocks noGrp="1"/>
          </p:cNvSpPr>
          <p:nvPr>
            <p:ph type="title"/>
          </p:nvPr>
        </p:nvSpPr>
        <p:spPr>
          <a:xfrm>
            <a:off x="615137" y="152401"/>
            <a:ext cx="7945800" cy="4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ep 3: Displaying 100 rows of the tables.</a:t>
            </a: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9DDD75-A654-1F09-7CCB-778FFD87FE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137" y="674176"/>
            <a:ext cx="7945800" cy="409155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73C2F8D-3BFB-0A19-1474-156FF5A4F9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372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D95A6C97-962F-F375-B790-780CE784A6A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696"/>
          <a:stretch/>
        </p:blipFill>
        <p:spPr>
          <a:xfrm>
            <a:off x="275625" y="118344"/>
            <a:ext cx="8592749" cy="22101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7C69E52-0346-174B-ABD5-FD47549138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5625" y="2440983"/>
            <a:ext cx="8592749" cy="2309248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E4BF58-0D54-FD79-079D-B139DEBC2E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986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8" name="Google Shape;178;p26"/>
          <p:cNvSpPr txBox="1">
            <a:spLocks noGrp="1"/>
          </p:cNvSpPr>
          <p:nvPr>
            <p:ph type="title"/>
          </p:nvPr>
        </p:nvSpPr>
        <p:spPr>
          <a:xfrm>
            <a:off x="599100" y="148528"/>
            <a:ext cx="7945800" cy="4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ep 4: Data Analysis</a:t>
            </a: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9" name="Google Shape;179;p26"/>
          <p:cNvSpPr txBox="1">
            <a:spLocks noGrp="1"/>
          </p:cNvSpPr>
          <p:nvPr>
            <p:ph type="body" idx="1"/>
          </p:nvPr>
        </p:nvSpPr>
        <p:spPr>
          <a:xfrm>
            <a:off x="727650" y="613228"/>
            <a:ext cx="7688700" cy="78161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airports with the highest delay time (in hours)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Origin &amp; Destination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 descr="A screen shot of a computer&#10;&#10;Description automatically generated">
            <a:extLst>
              <a:ext uri="{FF2B5EF4-FFF2-40B4-BE49-F238E27FC236}">
                <a16:creationId xmlns:a16="http://schemas.microsoft.com/office/drawing/2014/main" id="{27341FD2-E493-2DCA-5B3B-ABFE5ED873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394847"/>
            <a:ext cx="4510007" cy="3748653"/>
          </a:xfrm>
          <a:prstGeom prst="rect">
            <a:avLst/>
          </a:prstGeom>
        </p:spPr>
      </p:pic>
      <p:pic>
        <p:nvPicPr>
          <p:cNvPr id="4" name="Picture 3" descr="A screen shot of a computer&#10;&#10;Description automatically generated">
            <a:extLst>
              <a:ext uri="{FF2B5EF4-FFF2-40B4-BE49-F238E27FC236}">
                <a16:creationId xmlns:a16="http://schemas.microsoft.com/office/drawing/2014/main" id="{B3C94B0C-1295-3725-FD3B-20C7A632AF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1394847"/>
            <a:ext cx="4572000" cy="3748653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D341C9A-1CA6-C08F-B4A8-E673BE6B3F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2561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7" name="Google Shape;187;p27"/>
          <p:cNvSpPr txBox="1">
            <a:spLocks noGrp="1"/>
          </p:cNvSpPr>
          <p:nvPr>
            <p:ph type="body" idx="1"/>
          </p:nvPr>
        </p:nvSpPr>
        <p:spPr>
          <a:xfrm>
            <a:off x="603425" y="96209"/>
            <a:ext cx="7688700" cy="77169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airports with the highest delay time (in hours)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Origin Table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88" name="Google Shape;188;p27"/>
          <p:cNvGraphicFramePr/>
          <p:nvPr>
            <p:extLst>
              <p:ext uri="{D42A27DB-BD31-4B8C-83A1-F6EECF244321}">
                <p14:modId xmlns:p14="http://schemas.microsoft.com/office/powerpoint/2010/main" val="79040083"/>
              </p:ext>
            </p:extLst>
          </p:nvPr>
        </p:nvGraphicFramePr>
        <p:xfrm>
          <a:off x="228024" y="1269260"/>
          <a:ext cx="8455000" cy="24304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696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8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7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3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139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48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567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86275">
                <a:tc gridSpan="7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>
                          <a:solidFill>
                            <a:sysClr val="windowText" lastClr="000000"/>
                          </a:solidFill>
                        </a:rPr>
                        <a:t>Top 3 Airports with Highest Delay (in Hours) by Origin</a:t>
                      </a:r>
                      <a:endParaRPr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6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Name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Year 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Origin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Airports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Arrival time Delay (In Hours)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/>
                        <a:t>Departure Time Delay (In Hours)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Total Delay (In Hours)</a:t>
                      </a:r>
                      <a:endParaRPr sz="10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5950"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Amey</a:t>
                      </a:r>
                      <a:endParaRPr sz="1000" dirty="0"/>
                    </a:p>
                  </a:txBody>
                  <a:tcPr marL="91425" marR="91425" marT="91425" marB="91425"/>
                </a:tc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2002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ORD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Chicago O'Hare International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26790.20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36203.78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62993.98</a:t>
                      </a:r>
                      <a:endParaRPr sz="10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59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ATL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William B Hartsfield-Atlanta Intl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31753.78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28890.03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60643.82</a:t>
                      </a:r>
                      <a:endParaRPr sz="10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65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DTW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Detroit Metropolitan-Wayne County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18243.03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20305.90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38548.93</a:t>
                      </a:r>
                      <a:endParaRPr sz="10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11FA4CB-1E92-E19F-386F-A37D34D5FC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224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" name="Google Shape;194;p28"/>
          <p:cNvSpPr txBox="1">
            <a:spLocks noGrp="1"/>
          </p:cNvSpPr>
          <p:nvPr>
            <p:ph type="body" idx="1"/>
          </p:nvPr>
        </p:nvSpPr>
        <p:spPr>
          <a:xfrm>
            <a:off x="727650" y="152399"/>
            <a:ext cx="7688700" cy="79299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airports with the highest delay time (in hours)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Origin Visualization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CB090B-EAC7-9F2A-9BA3-4B0FE4BB86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4495" y="1016333"/>
            <a:ext cx="6335009" cy="3715268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E845D7B-9674-17B8-56F8-64FAAD5A18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737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1" name="Google Shape;201;p29"/>
          <p:cNvSpPr txBox="1">
            <a:spLocks noGrp="1"/>
          </p:cNvSpPr>
          <p:nvPr>
            <p:ph type="body" idx="1"/>
          </p:nvPr>
        </p:nvSpPr>
        <p:spPr>
          <a:xfrm>
            <a:off x="727650" y="245629"/>
            <a:ext cx="7688700" cy="75401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airports with the highest delay time (in hours)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t Table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02" name="Google Shape;202;p29"/>
          <p:cNvGraphicFramePr/>
          <p:nvPr>
            <p:extLst>
              <p:ext uri="{D42A27DB-BD31-4B8C-83A1-F6EECF244321}">
                <p14:modId xmlns:p14="http://schemas.microsoft.com/office/powerpoint/2010/main" val="1116827461"/>
              </p:ext>
            </p:extLst>
          </p:nvPr>
        </p:nvGraphicFramePr>
        <p:xfrm>
          <a:off x="727650" y="1436960"/>
          <a:ext cx="6892025" cy="245352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579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7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6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54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115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16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81000">
                <a:tc gridSpan="7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Top 3 Airports with Highest Delay (in Hours) by Destination</a:t>
                      </a:r>
                      <a:endParaRPr sz="1100" dirty="0"/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Name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Year 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Destination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Airports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Arrival time Delay (In Hours)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Departure Time Delay (In Hours)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Total Delay (In Hours)</a:t>
                      </a:r>
                      <a:endParaRPr sz="11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000"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Amey</a:t>
                      </a:r>
                      <a:endParaRPr sz="1000" dirty="0"/>
                    </a:p>
                  </a:txBody>
                  <a:tcPr marL="91425" marR="91425" marT="91425" marB="91425"/>
                </a:tc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2002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ORD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Chicago O'Hare International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9170.65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30983.83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50154.48</a:t>
                      </a:r>
                      <a:endParaRPr sz="11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ATL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William B Hartsfield-Atlanta Intl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25435.08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23705.18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49140.27</a:t>
                      </a:r>
                      <a:endParaRPr sz="11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LAS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McCarran International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0015.05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5973.85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25988.90</a:t>
                      </a:r>
                      <a:endParaRPr sz="11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5B481C6-2CE1-0A10-BBD2-27CF32B9C9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091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8" name="Google Shape;208;p30"/>
          <p:cNvSpPr txBox="1">
            <a:spLocks noGrp="1"/>
          </p:cNvSpPr>
          <p:nvPr>
            <p:ph type="body" idx="1"/>
          </p:nvPr>
        </p:nvSpPr>
        <p:spPr>
          <a:xfrm>
            <a:off x="727650" y="142704"/>
            <a:ext cx="7688700" cy="86468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airports with the highest delay time (in hours)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t Visualization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7979AB-880B-F468-1100-50A0CBB07A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1153" y="1120625"/>
            <a:ext cx="6401693" cy="3677163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ACB84A7-C4B4-D528-2ABD-9F4876FA22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48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4" name="Google Shape;214;p31"/>
          <p:cNvSpPr txBox="1">
            <a:spLocks noGrp="1"/>
          </p:cNvSpPr>
          <p:nvPr>
            <p:ph type="title"/>
          </p:nvPr>
        </p:nvSpPr>
        <p:spPr>
          <a:xfrm>
            <a:off x="599100" y="133030"/>
            <a:ext cx="7945800" cy="4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ep 4: Data Analysis</a:t>
            </a: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5" name="Google Shape;215;p31"/>
          <p:cNvSpPr txBox="1">
            <a:spLocks noGrp="1"/>
          </p:cNvSpPr>
          <p:nvPr>
            <p:ph type="body" idx="1"/>
          </p:nvPr>
        </p:nvSpPr>
        <p:spPr>
          <a:xfrm>
            <a:off x="727650" y="597730"/>
            <a:ext cx="7688700" cy="84361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Carriers with the highest delay time (in hours)  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Origin &amp; Destination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 descr="A screen shot of a computer&#10;&#10;Description automatically generated">
            <a:extLst>
              <a:ext uri="{FF2B5EF4-FFF2-40B4-BE49-F238E27FC236}">
                <a16:creationId xmlns:a16="http://schemas.microsoft.com/office/drawing/2014/main" id="{D14CF097-6D76-68C3-9895-12D984DB49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41343"/>
            <a:ext cx="4502258" cy="3702158"/>
          </a:xfrm>
          <a:prstGeom prst="rect">
            <a:avLst/>
          </a:prstGeom>
        </p:spPr>
      </p:pic>
      <p:pic>
        <p:nvPicPr>
          <p:cNvPr id="4" name="Picture 3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38E0B9C2-47BB-90C2-BEFF-4C8721C775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1441343"/>
            <a:ext cx="4572000" cy="3702158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FE0C9F6-C3BC-3E85-50EB-22CBF9D56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2332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3" name="Google Shape;223;p32"/>
          <p:cNvSpPr txBox="1">
            <a:spLocks noGrp="1"/>
          </p:cNvSpPr>
          <p:nvPr>
            <p:ph type="body" idx="1"/>
          </p:nvPr>
        </p:nvSpPr>
        <p:spPr>
          <a:xfrm>
            <a:off x="727650" y="165951"/>
            <a:ext cx="7688700" cy="8491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Carriers with the highest delay time (in hours)  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Origin Table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24" name="Google Shape;224;p32"/>
          <p:cNvGraphicFramePr/>
          <p:nvPr>
            <p:extLst>
              <p:ext uri="{D42A27DB-BD31-4B8C-83A1-F6EECF244321}">
                <p14:modId xmlns:p14="http://schemas.microsoft.com/office/powerpoint/2010/main" val="1669140936"/>
              </p:ext>
            </p:extLst>
          </p:nvPr>
        </p:nvGraphicFramePr>
        <p:xfrm>
          <a:off x="999752" y="1550685"/>
          <a:ext cx="6892025" cy="204213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579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4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89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54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115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16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81000">
                <a:tc gridSpan="7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Top 3 Carriers with Highest Delay (in Hours) by Origin</a:t>
                      </a:r>
                      <a:endParaRPr sz="1100" dirty="0"/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Name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Year 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Origin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Carriers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Arrival time Delay (In Hours)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Departure Time Delay (In Hours)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Total Delay (In Hours)</a:t>
                      </a:r>
                      <a:endParaRPr sz="11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000"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Amey</a:t>
                      </a:r>
                      <a:endParaRPr sz="1000" dirty="0"/>
                    </a:p>
                  </a:txBody>
                  <a:tcPr marL="91425" marR="91425" marT="91425" marB="91425"/>
                </a:tc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2002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ATL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Delta Air Lines Inc.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29180.80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25461.67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54642.47</a:t>
                      </a:r>
                      <a:endParaRPr sz="11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DTW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Northwest Airlines Inc.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6191.83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7580.42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33772.25</a:t>
                      </a:r>
                      <a:endParaRPr sz="11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ORD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United Air Lines Inc.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9840.53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4197.47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24038.00</a:t>
                      </a:r>
                      <a:endParaRPr sz="11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CD9AB3D-FA9F-768F-DFD0-1ED7FEBDA2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28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Google Shape;95;p14"/>
          <p:cNvSpPr txBox="1">
            <a:spLocks noGrp="1"/>
          </p:cNvSpPr>
          <p:nvPr>
            <p:ph type="title"/>
          </p:nvPr>
        </p:nvSpPr>
        <p:spPr>
          <a:xfrm>
            <a:off x="727650" y="261534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dirty="0"/>
              <a:t>Contents:</a:t>
            </a:r>
            <a:endParaRPr sz="2400" dirty="0"/>
          </a:p>
        </p:txBody>
      </p:sp>
      <p:sp>
        <p:nvSpPr>
          <p:cNvPr id="96" name="Google Shape;96;p14"/>
          <p:cNvSpPr txBox="1">
            <a:spLocks noGrp="1"/>
          </p:cNvSpPr>
          <p:nvPr>
            <p:ph type="body" idx="1"/>
          </p:nvPr>
        </p:nvSpPr>
        <p:spPr>
          <a:xfrm>
            <a:off x="727650" y="796734"/>
            <a:ext cx="7688700" cy="408523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175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AutoNum type="arabicPeriod"/>
            </a:pPr>
            <a:r>
              <a:rPr lang="en" sz="2000" dirty="0">
                <a:solidFill>
                  <a:srgbClr val="000000"/>
                </a:solidFill>
              </a:rPr>
              <a:t>Extracting the data</a:t>
            </a:r>
            <a:endParaRPr sz="2000" dirty="0">
              <a:solidFill>
                <a:srgbClr val="000000"/>
              </a:solidFill>
            </a:endParaRPr>
          </a:p>
          <a:p>
            <a:pPr marL="457200" lvl="0" indent="-3175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AutoNum type="arabicPeriod"/>
            </a:pPr>
            <a:r>
              <a:rPr lang="en" sz="2000" dirty="0">
                <a:solidFill>
                  <a:srgbClr val="000000"/>
                </a:solidFill>
              </a:rPr>
              <a:t>Table creation and data loading</a:t>
            </a:r>
            <a:endParaRPr sz="2000" dirty="0">
              <a:solidFill>
                <a:srgbClr val="000000"/>
              </a:solidFill>
            </a:endParaRPr>
          </a:p>
          <a:p>
            <a:pPr marL="457200" lvl="0" indent="-3175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AutoNum type="arabicPeriod"/>
            </a:pPr>
            <a:r>
              <a:rPr lang="en" sz="2000" dirty="0">
                <a:solidFill>
                  <a:srgbClr val="000000"/>
                </a:solidFill>
              </a:rPr>
              <a:t>Data Analysis Tasks</a:t>
            </a:r>
            <a:endParaRPr sz="2000" dirty="0">
              <a:solidFill>
                <a:srgbClr val="000000"/>
              </a:solidFill>
            </a:endParaRPr>
          </a:p>
          <a:p>
            <a:pPr marL="914400" lvl="1" indent="-3175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AutoNum type="alphaLcPeriod"/>
            </a:pPr>
            <a:r>
              <a:rPr lang="en" sz="2000" dirty="0">
                <a:solidFill>
                  <a:srgbClr val="000000"/>
                </a:solidFill>
              </a:rPr>
              <a:t>Top 3 airports with highest delay time</a:t>
            </a:r>
            <a:endParaRPr sz="2000" dirty="0">
              <a:solidFill>
                <a:srgbClr val="000000"/>
              </a:solidFill>
            </a:endParaRPr>
          </a:p>
          <a:p>
            <a:pPr marL="914400" lvl="1" indent="-3175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AutoNum type="alphaLcPeriod"/>
            </a:pPr>
            <a:r>
              <a:rPr lang="en" sz="2000" dirty="0">
                <a:solidFill>
                  <a:srgbClr val="000000"/>
                </a:solidFill>
              </a:rPr>
              <a:t>Top 3 airlines with highest delay time</a:t>
            </a:r>
            <a:endParaRPr sz="2000" dirty="0">
              <a:solidFill>
                <a:srgbClr val="000000"/>
              </a:solidFill>
            </a:endParaRPr>
          </a:p>
          <a:p>
            <a:pPr marL="914400" lvl="1" indent="-3175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AutoNum type="alphaLcPeriod"/>
            </a:pPr>
            <a:r>
              <a:rPr lang="en" sz="2000" dirty="0">
                <a:solidFill>
                  <a:srgbClr val="000000"/>
                </a:solidFill>
              </a:rPr>
              <a:t>Largest type of delay</a:t>
            </a:r>
            <a:endParaRPr sz="2000" dirty="0">
              <a:solidFill>
                <a:srgbClr val="000000"/>
              </a:solidFill>
            </a:endParaRPr>
          </a:p>
          <a:p>
            <a:pPr marL="457200" lvl="0" indent="-3175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AutoNum type="arabicPeriod"/>
            </a:pPr>
            <a:r>
              <a:rPr lang="en" sz="2000" dirty="0">
                <a:solidFill>
                  <a:srgbClr val="000000"/>
                </a:solidFill>
              </a:rPr>
              <a:t>Conclusion</a:t>
            </a:r>
            <a:endParaRPr sz="2000" dirty="0">
              <a:solidFill>
                <a:srgbClr val="000000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8F99583-AEBB-F6B7-B819-7864798486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84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0" name="Google Shape;230;p33"/>
          <p:cNvSpPr txBox="1">
            <a:spLocks noGrp="1"/>
          </p:cNvSpPr>
          <p:nvPr>
            <p:ph type="body" idx="1"/>
          </p:nvPr>
        </p:nvSpPr>
        <p:spPr>
          <a:xfrm>
            <a:off x="727650" y="134954"/>
            <a:ext cx="7688700" cy="8879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Carriers with the highest delay time (in hours)  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Origin Visualization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1FEDA1-397A-CEFF-CA5F-C5FCD48E2A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4063" y="1123467"/>
            <a:ext cx="6296904" cy="343900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8987880-3AF1-15B5-3269-E2CAD87899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8032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7" name="Google Shape;237;p34"/>
          <p:cNvSpPr txBox="1">
            <a:spLocks noGrp="1"/>
          </p:cNvSpPr>
          <p:nvPr>
            <p:ph type="body" idx="1"/>
          </p:nvPr>
        </p:nvSpPr>
        <p:spPr>
          <a:xfrm>
            <a:off x="727650" y="127206"/>
            <a:ext cx="7688700" cy="84143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Carriers with the highest delay time (in hours)  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t Table 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38" name="Google Shape;238;p34"/>
          <p:cNvGraphicFramePr/>
          <p:nvPr>
            <p:extLst>
              <p:ext uri="{D42A27DB-BD31-4B8C-83A1-F6EECF244321}">
                <p14:modId xmlns:p14="http://schemas.microsoft.com/office/powerpoint/2010/main" val="459570347"/>
              </p:ext>
            </p:extLst>
          </p:nvPr>
        </p:nvGraphicFramePr>
        <p:xfrm>
          <a:off x="953257" y="1482120"/>
          <a:ext cx="6892025" cy="204213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579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7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6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54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115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16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81000">
                <a:tc gridSpan="7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Top 3 Carriers with Highest Delay (in Hours) by Destination</a:t>
                      </a:r>
                      <a:endParaRPr sz="1100" dirty="0"/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Name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Year 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Destination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Carriers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Arrival time Delay (In Hours)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Departure Time Delay (In Hours)</a:t>
                      </a:r>
                      <a:endParaRPr sz="11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/>
                        <a:t>Total Delay (In Hours)</a:t>
                      </a:r>
                      <a:endParaRPr sz="11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000"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Amey</a:t>
                      </a:r>
                      <a:endParaRPr sz="1000" dirty="0"/>
                    </a:p>
                  </a:txBody>
                  <a:tcPr marL="91425" marR="91425" marT="91425" marB="91425"/>
                </a:tc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/>
                        <a:t>2002</a:t>
                      </a:r>
                      <a:endParaRPr sz="10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ATL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Delta Air Lines Inc.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21843.77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9930.60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41774.37</a:t>
                      </a:r>
                      <a:endParaRPr sz="11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ORD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United Air Lines Inc.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6539.23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1916.13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8455.37</a:t>
                      </a:r>
                      <a:endParaRPr sz="11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ORD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100" dirty="0"/>
                        <a:t>American Airlines Inc.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4098.42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9370.17</a:t>
                      </a:r>
                      <a:endParaRPr sz="11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/>
                        <a:t>13468.58</a:t>
                      </a:r>
                      <a:endParaRPr sz="11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5A826CA-AACE-CD9F-C49C-58425AF65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41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4" name="Google Shape;244;p35"/>
          <p:cNvSpPr txBox="1">
            <a:spLocks noGrp="1"/>
          </p:cNvSpPr>
          <p:nvPr>
            <p:ph type="body" idx="1"/>
          </p:nvPr>
        </p:nvSpPr>
        <p:spPr>
          <a:xfrm>
            <a:off x="727650" y="150453"/>
            <a:ext cx="7688700" cy="84918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the three Carriers with the highest delay time (in hours)  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st Visualization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986044-EC42-19D3-DC1C-FB2DE15AA8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0179" y="676010"/>
            <a:ext cx="6563641" cy="3791479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1A400F9-641A-4DEC-5204-81E9D060D0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0166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0" name="Google Shape;250;p36"/>
          <p:cNvSpPr txBox="1">
            <a:spLocks noGrp="1"/>
          </p:cNvSpPr>
          <p:nvPr>
            <p:ph type="title"/>
          </p:nvPr>
        </p:nvSpPr>
        <p:spPr>
          <a:xfrm>
            <a:off x="599100" y="152400"/>
            <a:ext cx="79458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ep 4: Data Analysis</a:t>
            </a:r>
            <a:endParaRPr sz="1800" b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1" name="Google Shape;251;p36"/>
          <p:cNvSpPr txBox="1">
            <a:spLocks noGrp="1"/>
          </p:cNvSpPr>
          <p:nvPr>
            <p:ph type="body" idx="1"/>
          </p:nvPr>
        </p:nvSpPr>
        <p:spPr>
          <a:xfrm>
            <a:off x="599099" y="687600"/>
            <a:ext cx="7945799" cy="84673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overall which type of delay (arrivals or departures) is the largest for your airports  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Origin &amp; Destination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 descr="A screen shot of a computer&#10;&#10;Description automatically generated">
            <a:extLst>
              <a:ext uri="{FF2B5EF4-FFF2-40B4-BE49-F238E27FC236}">
                <a16:creationId xmlns:a16="http://schemas.microsoft.com/office/drawing/2014/main" id="{CF4BD69F-AB35-B31F-7F35-F713164670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096" y="1534332"/>
            <a:ext cx="7945799" cy="3327266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56C00EA-24F9-7CE1-7367-7058BFD592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830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8" name="Google Shape;258;p37"/>
          <p:cNvSpPr txBox="1">
            <a:spLocks noGrp="1"/>
          </p:cNvSpPr>
          <p:nvPr>
            <p:ph type="body" idx="1"/>
          </p:nvPr>
        </p:nvSpPr>
        <p:spPr>
          <a:xfrm>
            <a:off x="729450" y="160925"/>
            <a:ext cx="7688700" cy="103244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etermine overall which type of delay (arrivals or departures) is the largest for your airports  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Year 2002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</a:pPr>
            <a:r>
              <a:rPr lang="en" sz="14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able &amp; Visualization </a:t>
            </a:r>
            <a:endParaRPr sz="1400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59" name="Google Shape;259;p37"/>
          <p:cNvGraphicFramePr/>
          <p:nvPr>
            <p:extLst>
              <p:ext uri="{D42A27DB-BD31-4B8C-83A1-F6EECF244321}">
                <p14:modId xmlns:p14="http://schemas.microsoft.com/office/powerpoint/2010/main" val="370284473"/>
              </p:ext>
            </p:extLst>
          </p:nvPr>
        </p:nvGraphicFramePr>
        <p:xfrm>
          <a:off x="729450" y="2965075"/>
          <a:ext cx="3842550" cy="92961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5450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23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9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66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08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/>
                        <a:t>Year</a:t>
                      </a:r>
                      <a:endParaRPr sz="1200" dirty="0"/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/>
                        <a:t>Total Arrival Delay</a:t>
                      </a:r>
                      <a:endParaRPr sz="1200" dirty="0"/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/>
                        <a:t>Total Departure Delay</a:t>
                      </a:r>
                      <a:endParaRPr sz="1200" dirty="0"/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/>
                        <a:t>Largest Delay Type</a:t>
                      </a:r>
                      <a:endParaRPr sz="1200" dirty="0"/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/>
                        <a:t>2002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/>
                        <a:t>276460.62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/>
                        <a:t>480037.08</a:t>
                      </a:r>
                      <a:endParaRPr sz="12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 dirty="0"/>
                        <a:t>Departures</a:t>
                      </a:r>
                      <a:endParaRPr sz="1200" b="1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DA71EE1B-0188-9CD6-04C3-40A813BE4C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4704" y="1388467"/>
            <a:ext cx="3019846" cy="3153215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88DAFF0-CB68-419A-6112-97881478B3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977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1" name="Google Shape;271;p39"/>
          <p:cNvSpPr txBox="1">
            <a:spLocks noGrp="1"/>
          </p:cNvSpPr>
          <p:nvPr>
            <p:ph type="title"/>
          </p:nvPr>
        </p:nvSpPr>
        <p:spPr>
          <a:xfrm>
            <a:off x="729450" y="2143775"/>
            <a:ext cx="7688400" cy="632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990"/>
              <a:buNone/>
            </a:pPr>
            <a:r>
              <a:rPr lang="en" sz="2740"/>
              <a:t>Thank You!</a:t>
            </a:r>
            <a:endParaRPr sz="274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CD9AB3D-FA9F-768F-DFD0-1ED7FEBDA2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439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D9AB3D-FA9F-768F-DFD0-1ED7FEBDA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Google Shape;95;p14"/>
          <p:cNvSpPr txBox="1">
            <a:spLocks noGrp="1"/>
          </p:cNvSpPr>
          <p:nvPr>
            <p:ph type="title"/>
          </p:nvPr>
        </p:nvSpPr>
        <p:spPr>
          <a:xfrm>
            <a:off x="727650" y="249267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dirty="0"/>
              <a:t>Data Source:</a:t>
            </a:r>
            <a:endParaRPr sz="2400" dirty="0"/>
          </a:p>
        </p:txBody>
      </p:sp>
      <p:sp>
        <p:nvSpPr>
          <p:cNvPr id="96" name="Google Shape;96;p14"/>
          <p:cNvSpPr txBox="1">
            <a:spLocks noGrp="1"/>
          </p:cNvSpPr>
          <p:nvPr>
            <p:ph type="body" idx="1"/>
          </p:nvPr>
        </p:nvSpPr>
        <p:spPr>
          <a:xfrm>
            <a:off x="729450" y="867905"/>
            <a:ext cx="7688700" cy="365087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46050" indent="0">
              <a:buNone/>
            </a:pPr>
            <a:r>
              <a:rPr lang="en-US" sz="2000" dirty="0">
                <a:solidFill>
                  <a:srgbClr val="000000"/>
                </a:solidFill>
              </a:rPr>
              <a:t>Data Expo 2009: Airline on time data</a:t>
            </a:r>
            <a:br>
              <a:rPr lang="en-US" sz="2000" dirty="0">
                <a:solidFill>
                  <a:srgbClr val="000000"/>
                </a:solidFill>
              </a:rPr>
            </a:br>
            <a:br>
              <a:rPr lang="en-US" sz="2000" dirty="0">
                <a:solidFill>
                  <a:srgbClr val="000000"/>
                </a:solidFill>
              </a:rPr>
            </a:br>
            <a:r>
              <a:rPr lang="en-US" sz="2000" dirty="0">
                <a:solidFill>
                  <a:srgbClr val="000000"/>
                </a:solidFill>
              </a:rPr>
              <a:t>The data represents flight arrival and departure details for all commercial flights within the USA for all years</a:t>
            </a:r>
            <a:br>
              <a:rPr lang="en-US" sz="2000" dirty="0">
                <a:solidFill>
                  <a:srgbClr val="000000"/>
                </a:solidFill>
              </a:rPr>
            </a:br>
            <a:endParaRPr lang="en-US" sz="2000" dirty="0">
              <a:solidFill>
                <a:srgbClr val="000000"/>
              </a:solidFill>
            </a:endParaRPr>
          </a:p>
          <a:p>
            <a:pPr marL="146050" indent="0">
              <a:buNone/>
            </a:pPr>
            <a:br>
              <a:rPr lang="en-US" sz="2000" dirty="0">
                <a:solidFill>
                  <a:srgbClr val="000000"/>
                </a:solidFill>
              </a:rPr>
            </a:br>
            <a:r>
              <a:rPr lang="en-US" sz="2000" dirty="0">
                <a:solidFill>
                  <a:srgbClr val="000000"/>
                </a:solidFill>
              </a:rPr>
              <a:t>Download link:</a:t>
            </a:r>
            <a:br>
              <a:rPr lang="en-US" sz="2000" dirty="0">
                <a:solidFill>
                  <a:srgbClr val="000000"/>
                </a:solidFill>
              </a:rPr>
            </a:br>
            <a:r>
              <a:rPr lang="en-US" sz="2000" dirty="0">
                <a:solidFill>
                  <a:srgbClr val="00000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 Expo 2009: Airline on time data</a:t>
            </a:r>
            <a:endParaRPr lang="en-US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02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CD9AB3D-FA9F-768F-DFD0-1ED7FEBDA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42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D9AB3D-FA9F-768F-DFD0-1ED7FEBDA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Google Shape;95;p14"/>
          <p:cNvSpPr txBox="1">
            <a:spLocks noGrp="1"/>
          </p:cNvSpPr>
          <p:nvPr>
            <p:ph type="title"/>
          </p:nvPr>
        </p:nvSpPr>
        <p:spPr>
          <a:xfrm>
            <a:off x="729450" y="264765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dirty="0"/>
              <a:t>Steps for Working with data in Hadoop:</a:t>
            </a:r>
            <a:endParaRPr sz="2400" dirty="0"/>
          </a:p>
        </p:txBody>
      </p:sp>
      <p:sp>
        <p:nvSpPr>
          <p:cNvPr id="96" name="Google Shape;96;p14"/>
          <p:cNvSpPr txBox="1">
            <a:spLocks noGrp="1"/>
          </p:cNvSpPr>
          <p:nvPr>
            <p:ph type="body" idx="1"/>
          </p:nvPr>
        </p:nvSpPr>
        <p:spPr>
          <a:xfrm>
            <a:off x="729450" y="799965"/>
            <a:ext cx="7688700" cy="371881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2000" dirty="0">
                <a:solidFill>
                  <a:srgbClr val="000000"/>
                </a:solidFill>
              </a:rPr>
              <a:t>Step 1: Extracting the data from the site and download the csv file from the website.</a:t>
            </a:r>
          </a:p>
          <a:p>
            <a:pPr algn="l">
              <a:lnSpc>
                <a:spcPct val="150000"/>
              </a:lnSpc>
            </a:pPr>
            <a:r>
              <a:rPr lang="en-US" sz="2000" dirty="0">
                <a:solidFill>
                  <a:srgbClr val="000000"/>
                </a:solidFill>
              </a:rPr>
              <a:t>Step 2: Creating a Hive table and load all the file data into it. Prefix the table name with your name.</a:t>
            </a:r>
          </a:p>
          <a:p>
            <a:pPr algn="l">
              <a:lnSpc>
                <a:spcPct val="150000"/>
              </a:lnSpc>
            </a:pPr>
            <a:r>
              <a:rPr lang="en-US" sz="2000" dirty="0">
                <a:solidFill>
                  <a:srgbClr val="000000"/>
                </a:solidFill>
              </a:rPr>
              <a:t>Step 3: Displaying a first 100 rows.</a:t>
            </a:r>
          </a:p>
          <a:p>
            <a:pPr algn="l">
              <a:lnSpc>
                <a:spcPct val="150000"/>
              </a:lnSpc>
            </a:pPr>
            <a:r>
              <a:rPr lang="en-US" sz="2000" dirty="0">
                <a:solidFill>
                  <a:srgbClr val="000000"/>
                </a:solidFill>
              </a:rPr>
              <a:t>Step 4: Data Analysis Tasks.</a:t>
            </a:r>
          </a:p>
        </p:txBody>
      </p:sp>
    </p:spTree>
    <p:extLst>
      <p:ext uri="{BB962C8B-B14F-4D97-AF65-F5344CB8AC3E}">
        <p14:creationId xmlns:p14="http://schemas.microsoft.com/office/powerpoint/2010/main" val="1453057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1E94245-F6DE-345D-AE7A-D10C397F3B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17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Google Shape;101;p15"/>
          <p:cNvSpPr txBox="1">
            <a:spLocks noGrp="1"/>
          </p:cNvSpPr>
          <p:nvPr>
            <p:ph type="title"/>
          </p:nvPr>
        </p:nvSpPr>
        <p:spPr>
          <a:xfrm>
            <a:off x="725850" y="89179"/>
            <a:ext cx="7945800" cy="68838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ep 1: Extracting the data from the site and download the csv file from the website.</a:t>
            </a: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" name="Google Shape;102;p15"/>
          <p:cNvSpPr txBox="1">
            <a:spLocks noGrp="1"/>
          </p:cNvSpPr>
          <p:nvPr>
            <p:ph type="body" idx="1"/>
          </p:nvPr>
        </p:nvSpPr>
        <p:spPr>
          <a:xfrm>
            <a:off x="729450" y="777559"/>
            <a:ext cx="7688700" cy="418641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sz="1400" dirty="0">
                <a:solidFill>
                  <a:srgbClr val="000000"/>
                </a:solidFill>
              </a:rPr>
              <a:t>A. For 2002.csv File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</a:rPr>
              <a:t>hdfs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dfs</a:t>
            </a:r>
            <a:r>
              <a:rPr lang="en-US" sz="1400" dirty="0">
                <a:solidFill>
                  <a:srgbClr val="000000"/>
                </a:solidFill>
              </a:rPr>
              <a:t> -</a:t>
            </a:r>
            <a:r>
              <a:rPr lang="en-US" sz="1400" dirty="0" err="1">
                <a:solidFill>
                  <a:srgbClr val="000000"/>
                </a:solidFill>
              </a:rPr>
              <a:t>mkdir</a:t>
            </a:r>
            <a:r>
              <a:rPr lang="en-US" sz="1400" dirty="0">
                <a:solidFill>
                  <a:srgbClr val="000000"/>
                </a:solidFill>
              </a:rPr>
              <a:t> -p /user/hive/warehouse -creating “warehouse” directory inside “hive” director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</a:rPr>
              <a:t>hdfs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dfs</a:t>
            </a:r>
            <a:r>
              <a:rPr lang="en-US" sz="1400" dirty="0">
                <a:solidFill>
                  <a:srgbClr val="000000"/>
                </a:solidFill>
              </a:rPr>
              <a:t> -</a:t>
            </a:r>
            <a:r>
              <a:rPr lang="en-US" sz="1400" dirty="0" err="1">
                <a:solidFill>
                  <a:srgbClr val="000000"/>
                </a:solidFill>
              </a:rPr>
              <a:t>chmod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g+w</a:t>
            </a:r>
            <a:r>
              <a:rPr lang="en-US" sz="1400" dirty="0">
                <a:solidFill>
                  <a:srgbClr val="000000"/>
                </a:solidFill>
              </a:rPr>
              <a:t> /user/hive/warehouse - granting write permission to the gro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rgbClr val="000000"/>
                </a:solidFill>
              </a:rPr>
              <a:t>wget https://dataverse.harvard.edu/api/access/datafile/:persistentId?persistentId=doi:10.7910/DVN/HG7NV7/OWJXH3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mv \:</a:t>
            </a:r>
            <a:r>
              <a:rPr lang="en-US" sz="1400" dirty="0" err="1">
                <a:solidFill>
                  <a:srgbClr val="000000"/>
                </a:solidFill>
              </a:rPr>
              <a:t>persistentId?persistentId</a:t>
            </a:r>
            <a:r>
              <a:rPr lang="en-US" sz="1400" dirty="0">
                <a:solidFill>
                  <a:srgbClr val="000000"/>
                </a:solidFill>
              </a:rPr>
              <a:t>=doi:10.7910%2FDVN%2FHG7NV7%2FOWJXH3 2002.csv.bz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bzip2 -d 2002.csv.bz2 - unz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</a:rPr>
              <a:t>hdfs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dfs</a:t>
            </a:r>
            <a:r>
              <a:rPr lang="en-US" sz="1400" dirty="0">
                <a:solidFill>
                  <a:srgbClr val="000000"/>
                </a:solidFill>
              </a:rPr>
              <a:t> -put 2002.csv /user/hive/warehouse  - Copying the new file back to HD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76B348-BF2C-AC1B-79CA-4546707262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5850" y="3158780"/>
            <a:ext cx="7945800" cy="57631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E85044D-0390-1464-829F-85E4CFB37D9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42044"/>
          <a:stretch/>
        </p:blipFill>
        <p:spPr>
          <a:xfrm>
            <a:off x="725850" y="3735092"/>
            <a:ext cx="7945800" cy="131923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36E8235-9538-315C-4D99-428C0D55A3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782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Google Shape;116;p17"/>
          <p:cNvSpPr txBox="1">
            <a:spLocks noGrp="1"/>
          </p:cNvSpPr>
          <p:nvPr>
            <p:ph type="body" idx="1"/>
          </p:nvPr>
        </p:nvSpPr>
        <p:spPr>
          <a:xfrm>
            <a:off x="727649" y="257801"/>
            <a:ext cx="7688700" cy="208140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000000"/>
                </a:solidFill>
              </a:rPr>
              <a:t>B.   Airports.csv</a:t>
            </a:r>
            <a:endParaRPr sz="1400" dirty="0">
              <a:solidFill>
                <a:srgbClr val="000000"/>
              </a:solidFill>
            </a:endParaRPr>
          </a:p>
          <a:p>
            <a:pPr marL="461963" indent="-285750">
              <a:spcBef>
                <a:spcPts val="1200"/>
              </a:spcBef>
              <a:buClr>
                <a:srgbClr val="000000"/>
              </a:buClr>
              <a:buSzPts val="825"/>
            </a:pPr>
            <a:r>
              <a:rPr lang="en" sz="1400" dirty="0">
                <a:solidFill>
                  <a:srgbClr val="000000"/>
                </a:solidFill>
              </a:rPr>
              <a:t>wget https://dataverse.harvard.edu/api/access/datafile/:persistentId?persistentId=doi:10.7910/DVN/HG7NV7/XTPZZY</a:t>
            </a:r>
          </a:p>
          <a:p>
            <a:pPr marL="461963" indent="-285750">
              <a:spcBef>
                <a:spcPts val="1200"/>
              </a:spcBef>
              <a:buClr>
                <a:srgbClr val="000000"/>
              </a:buClr>
              <a:buSzPts val="825"/>
            </a:pPr>
            <a:r>
              <a:rPr lang="en" sz="1400" dirty="0">
                <a:solidFill>
                  <a:srgbClr val="000000"/>
                </a:solidFill>
              </a:rPr>
              <a:t>mv \:persistentId?persistentId=doi:10.7910%2FDVN%2FHG7NV7%2FXTPZZY Airports.csv</a:t>
            </a:r>
          </a:p>
          <a:p>
            <a:pPr marL="461963" indent="-285750">
              <a:spcBef>
                <a:spcPts val="1200"/>
              </a:spcBef>
              <a:buClr>
                <a:srgbClr val="000000"/>
              </a:buClr>
              <a:buSzPts val="825"/>
            </a:pPr>
            <a:r>
              <a:rPr lang="en" sz="1400" dirty="0">
                <a:solidFill>
                  <a:srgbClr val="000000"/>
                </a:solidFill>
              </a:rPr>
              <a:t>hdfs dfs -put Airports.csv /user/hive/warehouse  - Copy the new file back to HDFS</a:t>
            </a:r>
          </a:p>
          <a:p>
            <a:pPr marL="461963" indent="-285750">
              <a:spcBef>
                <a:spcPts val="1200"/>
              </a:spcBef>
              <a:buClr>
                <a:srgbClr val="000000"/>
              </a:buClr>
              <a:buSzPts val="825"/>
            </a:pPr>
            <a:r>
              <a:rPr lang="en" sz="1400" dirty="0">
                <a:solidFill>
                  <a:srgbClr val="000000"/>
                </a:solidFill>
              </a:rPr>
              <a:t>head -n 10 Airports.csv  -First 10 lines from csv file</a:t>
            </a:r>
            <a:endParaRPr sz="1400" dirty="0">
              <a:solidFill>
                <a:srgbClr val="000000"/>
              </a:solidFill>
            </a:endParaRPr>
          </a:p>
          <a:p>
            <a:pPr marL="0" lvl="0" indent="0" algn="l" rtl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SzPts val="275"/>
              <a:buNone/>
            </a:pPr>
            <a:endParaRPr sz="925" dirty="0">
              <a:solidFill>
                <a:srgbClr val="000000"/>
              </a:solidFill>
            </a:endParaRPr>
          </a:p>
          <a:p>
            <a:pPr marL="0" lvl="0" indent="0" algn="l" rtl="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SzPts val="275"/>
              <a:buNone/>
            </a:pPr>
            <a:endParaRPr sz="325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CD0464-2CDF-9216-26AA-3398B5DEC4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100" y="2507671"/>
            <a:ext cx="7945800" cy="3606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A53663E-E403-0A4C-04E3-99C2B73099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098" y="2868302"/>
            <a:ext cx="7945801" cy="19220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4BF1CA8-F8FE-465A-4834-46F0654EDF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262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Google Shape;123;p18"/>
          <p:cNvSpPr txBox="1">
            <a:spLocks noGrp="1"/>
          </p:cNvSpPr>
          <p:nvPr>
            <p:ph type="body" idx="1"/>
          </p:nvPr>
        </p:nvSpPr>
        <p:spPr>
          <a:xfrm>
            <a:off x="760762" y="234277"/>
            <a:ext cx="7688700" cy="116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000000"/>
                </a:solidFill>
              </a:rPr>
              <a:t>C.   Carriers.csv</a:t>
            </a:r>
            <a:endParaRPr sz="1400" dirty="0">
              <a:solidFill>
                <a:srgbClr val="000000"/>
              </a:solidFill>
            </a:endParaRPr>
          </a:p>
          <a:p>
            <a:pPr marL="461963" indent="-285750">
              <a:lnSpc>
                <a:spcPct val="95000"/>
              </a:lnSpc>
              <a:spcBef>
                <a:spcPts val="1200"/>
              </a:spcBef>
              <a:buClr>
                <a:srgbClr val="000000"/>
              </a:buClr>
              <a:buSzPts val="825"/>
            </a:pPr>
            <a:r>
              <a:rPr lang="en" sz="1400" dirty="0">
                <a:solidFill>
                  <a:srgbClr val="000000"/>
                </a:solidFill>
              </a:rPr>
              <a:t>wget https://dataverse.harvard.edu/api/access/datafile/:persistentId?persistentId=doi:10.7910/DVN/HG7NV7/3NOQ6Q</a:t>
            </a:r>
            <a:endParaRPr sz="1400" dirty="0">
              <a:solidFill>
                <a:srgbClr val="000000"/>
              </a:solidFill>
            </a:endParaRPr>
          </a:p>
          <a:p>
            <a:pPr marL="461963" indent="-285750">
              <a:lnSpc>
                <a:spcPct val="95000"/>
              </a:lnSpc>
              <a:buClr>
                <a:srgbClr val="000000"/>
              </a:buClr>
              <a:buSzPts val="825"/>
            </a:pPr>
            <a:r>
              <a:rPr lang="en" sz="1400" dirty="0">
                <a:solidFill>
                  <a:srgbClr val="000000"/>
                </a:solidFill>
              </a:rPr>
              <a:t>mv \:persistentId?persistentId=doi:10.7910%2FDVN%2FHG7NV7%2F3NOQ6Q Carriers.csv - renaming the downloaded file as Carriers.csv</a:t>
            </a:r>
            <a:endParaRPr sz="1400" dirty="0">
              <a:solidFill>
                <a:srgbClr val="000000"/>
              </a:solidFill>
            </a:endParaRPr>
          </a:p>
          <a:p>
            <a:pPr marL="461963" indent="-285750">
              <a:lnSpc>
                <a:spcPct val="95000"/>
              </a:lnSpc>
              <a:buClr>
                <a:srgbClr val="000000"/>
              </a:buClr>
              <a:buSzPts val="825"/>
            </a:pPr>
            <a:r>
              <a:rPr lang="en" sz="1400" dirty="0">
                <a:solidFill>
                  <a:srgbClr val="000000"/>
                </a:solidFill>
              </a:rPr>
              <a:t>hdfs dfs -put Carriers.csv /user/hive/warehouse  - Copy the new file back to HDFS</a:t>
            </a:r>
            <a:endParaRPr sz="1400" dirty="0">
              <a:solidFill>
                <a:srgbClr val="000000"/>
              </a:solidFill>
            </a:endParaRPr>
          </a:p>
          <a:p>
            <a:pPr marL="461963" indent="-285750">
              <a:lnSpc>
                <a:spcPct val="95000"/>
              </a:lnSpc>
              <a:buClr>
                <a:srgbClr val="000000"/>
              </a:buClr>
              <a:buSzPts val="825"/>
            </a:pPr>
            <a:r>
              <a:rPr lang="en" sz="1400" dirty="0">
                <a:solidFill>
                  <a:srgbClr val="000000"/>
                </a:solidFill>
              </a:rPr>
              <a:t>head -n 10 Carriers.csv  -First 10 lines from csv file</a:t>
            </a:r>
            <a:endParaRPr sz="1400" dirty="0">
              <a:solidFill>
                <a:srgbClr val="000000"/>
              </a:solidFill>
            </a:endParaRPr>
          </a:p>
          <a:p>
            <a:pPr marL="0" lvl="0" indent="0" algn="l" rtl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SzPts val="275"/>
              <a:buNone/>
            </a:pPr>
            <a:endParaRPr sz="1400" dirty="0">
              <a:solidFill>
                <a:srgbClr val="000000"/>
              </a:solidFill>
            </a:endParaRPr>
          </a:p>
          <a:p>
            <a:pPr marL="0" lvl="0" indent="0" algn="l" rtl="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SzPts val="275"/>
              <a:buNone/>
            </a:pPr>
            <a:endParaRPr sz="1400" dirty="0">
              <a:solidFill>
                <a:srgbClr val="0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A948F1-990D-6798-ADA4-D81A2CB072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0762" y="2217893"/>
            <a:ext cx="7688700" cy="3538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E737E9C-013D-C271-2A4E-F014F0CE5E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0762" y="2571750"/>
            <a:ext cx="7688700" cy="2201631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2C7B796-F2D4-E578-2D3D-F97041D6FC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556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" name="Google Shape;129;p19"/>
          <p:cNvSpPr txBox="1">
            <a:spLocks noGrp="1"/>
          </p:cNvSpPr>
          <p:nvPr>
            <p:ph type="title"/>
          </p:nvPr>
        </p:nvSpPr>
        <p:spPr>
          <a:xfrm>
            <a:off x="573437" y="272515"/>
            <a:ext cx="8020373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ep 2: Creating Hive database and tables to save the data</a:t>
            </a: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130;p19"/>
          <p:cNvSpPr txBox="1">
            <a:spLocks noGrp="1"/>
          </p:cNvSpPr>
          <p:nvPr>
            <p:ph type="body" idx="1"/>
          </p:nvPr>
        </p:nvSpPr>
        <p:spPr>
          <a:xfrm>
            <a:off x="729450" y="807714"/>
            <a:ext cx="7688700" cy="106758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Use command hive to activate hiv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reate database </a:t>
            </a:r>
            <a:r>
              <a:rPr lang="en-US" sz="1400" dirty="0" err="1">
                <a:solidFill>
                  <a:schemeClr val="tx1"/>
                </a:solidFill>
              </a:rPr>
              <a:t>AmeyFlightInfo</a:t>
            </a:r>
            <a:r>
              <a:rPr lang="en-US" sz="1400" dirty="0">
                <a:solidFill>
                  <a:schemeClr val="tx1"/>
                </a:solidFill>
              </a:rPr>
              <a:t>; -creating new database “</a:t>
            </a:r>
            <a:r>
              <a:rPr lang="en-US" sz="1400" dirty="0" err="1">
                <a:solidFill>
                  <a:schemeClr val="tx1"/>
                </a:solidFill>
              </a:rPr>
              <a:t>AmeyFlightInfo</a:t>
            </a:r>
            <a:r>
              <a:rPr lang="en-US" sz="1400" dirty="0">
                <a:solidFill>
                  <a:schemeClr val="tx1"/>
                </a:solidFill>
              </a:rPr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Use </a:t>
            </a:r>
            <a:r>
              <a:rPr lang="en-US" sz="1400" dirty="0" err="1">
                <a:solidFill>
                  <a:schemeClr val="tx1"/>
                </a:solidFill>
              </a:rPr>
              <a:t>AmeyFlightInfo</a:t>
            </a:r>
            <a:r>
              <a:rPr lang="en-US" sz="1400" dirty="0">
                <a:solidFill>
                  <a:schemeClr val="tx1"/>
                </a:solidFill>
              </a:rPr>
              <a:t>; -Using the new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reating the necessary tables  &amp; loading the data </a:t>
            </a:r>
            <a:r>
              <a:rPr lang="en-US" sz="1400" dirty="0" err="1">
                <a:solidFill>
                  <a:schemeClr val="tx1"/>
                </a:solidFill>
              </a:rPr>
              <a:t>inpath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69863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25"/>
              <a:buNone/>
            </a:pPr>
            <a:endParaRPr sz="7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1EECE3-7C8E-59DB-9839-CAA91C0288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3437" y="2783195"/>
            <a:ext cx="8020374" cy="1897294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C58CB40-1A0D-4EC1-97F9-4C2186BF00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452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48AE2AD9-CB59-3C6A-8FAB-0E0FCC8D1E3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8602" b="-361"/>
          <a:stretch/>
        </p:blipFill>
        <p:spPr>
          <a:xfrm>
            <a:off x="976393" y="0"/>
            <a:ext cx="6935492" cy="5143499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arcel">
    <a:dk1>
      <a:srgbClr val="000000"/>
    </a:dk1>
    <a:lt1>
      <a:srgbClr val="FFFFFF"/>
    </a:lt1>
    <a:dk2>
      <a:srgbClr val="4A5356"/>
    </a:dk2>
    <a:lt2>
      <a:srgbClr val="E8E3CE"/>
    </a:lt2>
    <a:accent1>
      <a:srgbClr val="F6A21D"/>
    </a:accent1>
    <a:accent2>
      <a:srgbClr val="9BAFB5"/>
    </a:accent2>
    <a:accent3>
      <a:srgbClr val="C96731"/>
    </a:accent3>
    <a:accent4>
      <a:srgbClr val="9CA383"/>
    </a:accent4>
    <a:accent5>
      <a:srgbClr val="87795D"/>
    </a:accent5>
    <a:accent6>
      <a:srgbClr val="A0988C"/>
    </a:accent6>
    <a:hlink>
      <a:srgbClr val="00B0F0"/>
    </a:hlink>
    <a:folHlink>
      <a:srgbClr val="738F97"/>
    </a:folHlink>
  </a:clrScheme>
</a:themeOverride>
</file>

<file path=ppt/theme/themeOverride2.xml><?xml version="1.0" encoding="utf-8"?>
<a:themeOverride xmlns:a="http://schemas.openxmlformats.org/drawingml/2006/main">
  <a:clrScheme name="Parcel">
    <a:dk1>
      <a:srgbClr val="000000"/>
    </a:dk1>
    <a:lt1>
      <a:srgbClr val="FFFFFF"/>
    </a:lt1>
    <a:dk2>
      <a:srgbClr val="4A5356"/>
    </a:dk2>
    <a:lt2>
      <a:srgbClr val="E8E3CE"/>
    </a:lt2>
    <a:accent1>
      <a:srgbClr val="F6A21D"/>
    </a:accent1>
    <a:accent2>
      <a:srgbClr val="9BAFB5"/>
    </a:accent2>
    <a:accent3>
      <a:srgbClr val="C96731"/>
    </a:accent3>
    <a:accent4>
      <a:srgbClr val="9CA383"/>
    </a:accent4>
    <a:accent5>
      <a:srgbClr val="87795D"/>
    </a:accent5>
    <a:accent6>
      <a:srgbClr val="A0988C"/>
    </a:accent6>
    <a:hlink>
      <a:srgbClr val="00B0F0"/>
    </a:hlink>
    <a:folHlink>
      <a:srgbClr val="738F9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</TotalTime>
  <Words>1028</Words>
  <Application>Microsoft Office PowerPoint</Application>
  <PresentationFormat>On-screen Show (16:9)</PresentationFormat>
  <Paragraphs>209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9" baseType="lpstr">
      <vt:lpstr>Arial</vt:lpstr>
      <vt:lpstr>Gill Sans MT</vt:lpstr>
      <vt:lpstr>Parcel</vt:lpstr>
      <vt:lpstr>think-cell Slide</vt:lpstr>
      <vt:lpstr>Scalable Databases  Final Project - Phase 1  Amey Borkar(Year 2002) – Individual PPT</vt:lpstr>
      <vt:lpstr>Contents:</vt:lpstr>
      <vt:lpstr>Data Source:</vt:lpstr>
      <vt:lpstr>Steps for Working with data in Hadoop:</vt:lpstr>
      <vt:lpstr>Step 1: Extracting the data from the site and download the csv file from the website. </vt:lpstr>
      <vt:lpstr>PowerPoint Presentation</vt:lpstr>
      <vt:lpstr>PowerPoint Presentation</vt:lpstr>
      <vt:lpstr>Step 2: Creating Hive database and tables to save the data </vt:lpstr>
      <vt:lpstr>PowerPoint Presentation</vt:lpstr>
      <vt:lpstr>PowerPoint Presentation</vt:lpstr>
      <vt:lpstr>Step 3: Displaying 100 rows of the tables. </vt:lpstr>
      <vt:lpstr>PowerPoint Presentation</vt:lpstr>
      <vt:lpstr>Step 4: Data Analysis </vt:lpstr>
      <vt:lpstr>PowerPoint Presentation</vt:lpstr>
      <vt:lpstr>PowerPoint Presentation</vt:lpstr>
      <vt:lpstr>PowerPoint Presentation</vt:lpstr>
      <vt:lpstr>PowerPoint Presentation</vt:lpstr>
      <vt:lpstr>Step 4: Data Analysis </vt:lpstr>
      <vt:lpstr>PowerPoint Presentation</vt:lpstr>
      <vt:lpstr>PowerPoint Presentation</vt:lpstr>
      <vt:lpstr>PowerPoint Presentation</vt:lpstr>
      <vt:lpstr>PowerPoint Presentation</vt:lpstr>
      <vt:lpstr>Step 4: Data Analysis </vt:lpstr>
      <vt:lpstr>PowerPoint Presentation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alable Databases  Final Project - Phase 1</dc:title>
  <cp:lastModifiedBy>Amey Borkar</cp:lastModifiedBy>
  <cp:revision>3</cp:revision>
  <dcterms:modified xsi:type="dcterms:W3CDTF">2024-04-27T03:16:46Z</dcterms:modified>
</cp:coreProperties>
</file>